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3E8A9-CFFF-45B2-83C2-9F3BEA2D3A31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ADA8A4-2B26-4CD7-AAE6-28AC79E2628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9998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9551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8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90429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97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88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321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913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4139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2" name="Freihandform: Form 9">
            <a:extLst>
              <a:ext uri="{FF2B5EF4-FFF2-40B4-BE49-F238E27FC236}">
                <a16:creationId xmlns:a16="http://schemas.microsoft.com/office/drawing/2014/main" id="{4131CDBA-85B2-1EFF-9B22-DD6ABD6AD65B}"/>
              </a:ext>
            </a:extLst>
          </p:cNvPr>
          <p:cNvSpPr>
            <a:spLocks/>
          </p:cNvSpPr>
          <p:nvPr/>
        </p:nvSpPr>
        <p:spPr>
          <a:xfrm>
            <a:off x="6098762" y="3233523"/>
            <a:ext cx="1300748" cy="1003737"/>
          </a:xfrm>
          <a:custGeom>
            <a:avLst/>
            <a:gdLst>
              <a:gd name="connsiteX0" fmla="*/ 617922 w 613093"/>
              <a:gd name="connsiteY0" fmla="*/ 21594 h 472027"/>
              <a:gd name="connsiteX1" fmla="*/ 165155 w 613093"/>
              <a:gd name="connsiteY1" fmla="*/ 472353 h 472027"/>
              <a:gd name="connsiteX2" fmla="*/ 0 w 613093"/>
              <a:gd name="connsiteY2" fmla="*/ 187672 h 472027"/>
              <a:gd name="connsiteX3" fmla="*/ 452767 w 613093"/>
              <a:gd name="connsiteY3" fmla="*/ 0 h 472027"/>
              <a:gd name="connsiteX4" fmla="*/ 617922 w 613093"/>
              <a:gd name="connsiteY4" fmla="*/ 21594 h 47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093" h="472027">
                <a:moveTo>
                  <a:pt x="617922" y="21594"/>
                </a:moveTo>
                <a:cubicBezTo>
                  <a:pt x="558458" y="241168"/>
                  <a:pt x="385109" y="413865"/>
                  <a:pt x="165155" y="472353"/>
                </a:cubicBezTo>
                <a:cubicBezTo>
                  <a:pt x="135586" y="363082"/>
                  <a:pt x="77749" y="265421"/>
                  <a:pt x="0" y="187672"/>
                </a:cubicBezTo>
                <a:cubicBezTo>
                  <a:pt x="115782" y="71727"/>
                  <a:pt x="275892" y="0"/>
                  <a:pt x="452767" y="0"/>
                </a:cubicBezTo>
                <a:cubicBezTo>
                  <a:pt x="509898" y="0"/>
                  <a:pt x="565240" y="7487"/>
                  <a:pt x="617922" y="2159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ihandform: Form 12">
            <a:extLst>
              <a:ext uri="{FF2B5EF4-FFF2-40B4-BE49-F238E27FC236}">
                <a16:creationId xmlns:a16="http://schemas.microsoft.com/office/drawing/2014/main" id="{4DF19891-259E-303A-58F7-9D380C4631AC}"/>
              </a:ext>
            </a:extLst>
          </p:cNvPr>
          <p:cNvSpPr>
            <a:spLocks/>
          </p:cNvSpPr>
          <p:nvPr/>
        </p:nvSpPr>
        <p:spPr>
          <a:xfrm>
            <a:off x="5700942" y="4237951"/>
            <a:ext cx="794262" cy="1315242"/>
          </a:xfrm>
          <a:custGeom>
            <a:avLst/>
            <a:gdLst>
              <a:gd name="connsiteX0" fmla="*/ 374964 w 374366"/>
              <a:gd name="connsiteY0" fmla="*/ 167923 h 618519"/>
              <a:gd name="connsiteX1" fmla="*/ 187509 w 374366"/>
              <a:gd name="connsiteY1" fmla="*/ 620581 h 618519"/>
              <a:gd name="connsiteX2" fmla="*/ 0 w 374366"/>
              <a:gd name="connsiteY2" fmla="*/ 167923 h 618519"/>
              <a:gd name="connsiteX3" fmla="*/ 22299 w 374366"/>
              <a:gd name="connsiteY3" fmla="*/ 0 h 618519"/>
              <a:gd name="connsiteX4" fmla="*/ 187455 w 374366"/>
              <a:gd name="connsiteY4" fmla="*/ 21594 h 618519"/>
              <a:gd name="connsiteX5" fmla="*/ 352664 w 374366"/>
              <a:gd name="connsiteY5" fmla="*/ 0 h 618519"/>
              <a:gd name="connsiteX6" fmla="*/ 374964 w 374366"/>
              <a:gd name="connsiteY6" fmla="*/ 167923 h 618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4366" h="618519">
                <a:moveTo>
                  <a:pt x="374964" y="167923"/>
                </a:moveTo>
                <a:cubicBezTo>
                  <a:pt x="374964" y="344689"/>
                  <a:pt x="303346" y="504744"/>
                  <a:pt x="187509" y="620581"/>
                </a:cubicBezTo>
                <a:cubicBezTo>
                  <a:pt x="71618" y="504744"/>
                  <a:pt x="0" y="344689"/>
                  <a:pt x="0" y="167923"/>
                </a:cubicBezTo>
                <a:cubicBezTo>
                  <a:pt x="0" y="109814"/>
                  <a:pt x="7759" y="53497"/>
                  <a:pt x="22299" y="0"/>
                </a:cubicBezTo>
                <a:cubicBezTo>
                  <a:pt x="74982" y="14107"/>
                  <a:pt x="130323" y="21594"/>
                  <a:pt x="187455" y="21594"/>
                </a:cubicBezTo>
                <a:cubicBezTo>
                  <a:pt x="244586" y="21594"/>
                  <a:pt x="299982" y="14107"/>
                  <a:pt x="352664" y="0"/>
                </a:cubicBezTo>
                <a:cubicBezTo>
                  <a:pt x="367205" y="53497"/>
                  <a:pt x="374964" y="109814"/>
                  <a:pt x="374964" y="16792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ihandform: Form 14">
            <a:extLst>
              <a:ext uri="{FF2B5EF4-FFF2-40B4-BE49-F238E27FC236}">
                <a16:creationId xmlns:a16="http://schemas.microsoft.com/office/drawing/2014/main" id="{9DE21C18-D6C2-F3F4-C55A-603377526540}"/>
              </a:ext>
            </a:extLst>
          </p:cNvPr>
          <p:cNvSpPr>
            <a:spLocks/>
          </p:cNvSpPr>
          <p:nvPr/>
        </p:nvSpPr>
        <p:spPr>
          <a:xfrm>
            <a:off x="4787540" y="3233523"/>
            <a:ext cx="1300748" cy="1003737"/>
          </a:xfrm>
          <a:custGeom>
            <a:avLst/>
            <a:gdLst>
              <a:gd name="connsiteX0" fmla="*/ 618031 w 613093"/>
              <a:gd name="connsiteY0" fmla="*/ 187672 h 472027"/>
              <a:gd name="connsiteX1" fmla="*/ 452821 w 613093"/>
              <a:gd name="connsiteY1" fmla="*/ 472353 h 472027"/>
              <a:gd name="connsiteX2" fmla="*/ 0 w 613093"/>
              <a:gd name="connsiteY2" fmla="*/ 21594 h 472027"/>
              <a:gd name="connsiteX3" fmla="*/ 165210 w 613093"/>
              <a:gd name="connsiteY3" fmla="*/ 0 h 472027"/>
              <a:gd name="connsiteX4" fmla="*/ 618031 w 613093"/>
              <a:gd name="connsiteY4" fmla="*/ 187672 h 47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093" h="472027">
                <a:moveTo>
                  <a:pt x="618031" y="187672"/>
                </a:moveTo>
                <a:cubicBezTo>
                  <a:pt x="540228" y="265421"/>
                  <a:pt x="482391" y="363082"/>
                  <a:pt x="452821" y="472353"/>
                </a:cubicBezTo>
                <a:cubicBezTo>
                  <a:pt x="232867" y="413865"/>
                  <a:pt x="59519" y="241168"/>
                  <a:pt x="0" y="21594"/>
                </a:cubicBezTo>
                <a:cubicBezTo>
                  <a:pt x="52683" y="7487"/>
                  <a:pt x="108078" y="0"/>
                  <a:pt x="165210" y="0"/>
                </a:cubicBezTo>
                <a:cubicBezTo>
                  <a:pt x="342085" y="0"/>
                  <a:pt x="502194" y="71727"/>
                  <a:pt x="618031" y="18767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ihandform: Form 15">
            <a:extLst>
              <a:ext uri="{FF2B5EF4-FFF2-40B4-BE49-F238E27FC236}">
                <a16:creationId xmlns:a16="http://schemas.microsoft.com/office/drawing/2014/main" id="{66CABB1D-1D12-BC14-BEBA-1110DAFC3BBC}"/>
              </a:ext>
            </a:extLst>
          </p:cNvPr>
          <p:cNvSpPr>
            <a:spLocks/>
          </p:cNvSpPr>
          <p:nvPr/>
        </p:nvSpPr>
        <p:spPr>
          <a:xfrm>
            <a:off x="5748251" y="3632592"/>
            <a:ext cx="690659" cy="646084"/>
          </a:xfrm>
          <a:custGeom>
            <a:avLst/>
            <a:gdLst>
              <a:gd name="connsiteX0" fmla="*/ 330365 w 325536"/>
              <a:gd name="connsiteY0" fmla="*/ 284682 h 303834"/>
              <a:gd name="connsiteX1" fmla="*/ 165155 w 325536"/>
              <a:gd name="connsiteY1" fmla="*/ 306276 h 303834"/>
              <a:gd name="connsiteX2" fmla="*/ 0 w 325536"/>
              <a:gd name="connsiteY2" fmla="*/ 284682 h 303834"/>
              <a:gd name="connsiteX3" fmla="*/ 165210 w 325536"/>
              <a:gd name="connsiteY3" fmla="*/ 0 h 303834"/>
              <a:gd name="connsiteX4" fmla="*/ 330365 w 325536"/>
              <a:gd name="connsiteY4" fmla="*/ 284682 h 303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5536" h="303834">
                <a:moveTo>
                  <a:pt x="330365" y="284682"/>
                </a:moveTo>
                <a:cubicBezTo>
                  <a:pt x="277683" y="298788"/>
                  <a:pt x="222287" y="306276"/>
                  <a:pt x="165155" y="306276"/>
                </a:cubicBezTo>
                <a:cubicBezTo>
                  <a:pt x="108024" y="306276"/>
                  <a:pt x="52683" y="298788"/>
                  <a:pt x="0" y="284682"/>
                </a:cubicBezTo>
                <a:cubicBezTo>
                  <a:pt x="29570" y="175410"/>
                  <a:pt x="87406" y="77749"/>
                  <a:pt x="165210" y="0"/>
                </a:cubicBezTo>
                <a:cubicBezTo>
                  <a:pt x="242959" y="77749"/>
                  <a:pt x="300796" y="175410"/>
                  <a:pt x="330365" y="284682"/>
                </a:cubicBezTo>
                <a:close/>
              </a:path>
            </a:pathLst>
          </a:custGeom>
          <a:solidFill>
            <a:schemeClr val="accent1"/>
          </a:solidFill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ihandform: Form 7">
            <a:extLst>
              <a:ext uri="{FF2B5EF4-FFF2-40B4-BE49-F238E27FC236}">
                <a16:creationId xmlns:a16="http://schemas.microsoft.com/office/drawing/2014/main" id="{F736A0D1-ACDD-6C4E-3D8D-D4552D2F794C}"/>
              </a:ext>
            </a:extLst>
          </p:cNvPr>
          <p:cNvSpPr>
            <a:spLocks/>
          </p:cNvSpPr>
          <p:nvPr/>
        </p:nvSpPr>
        <p:spPr>
          <a:xfrm>
            <a:off x="4740041" y="1560742"/>
            <a:ext cx="2716603" cy="2065160"/>
          </a:xfrm>
          <a:custGeom>
            <a:avLst/>
            <a:gdLst>
              <a:gd name="connsiteX0" fmla="*/ 1280606 w 1280443"/>
              <a:gd name="connsiteY0" fmla="*/ 640276 h 971183"/>
              <a:gd name="connsiteX1" fmla="*/ 1258253 w 1280443"/>
              <a:gd name="connsiteY1" fmla="*/ 808253 h 971183"/>
              <a:gd name="connsiteX2" fmla="*/ 1093097 w 1280443"/>
              <a:gd name="connsiteY2" fmla="*/ 786659 h 971183"/>
              <a:gd name="connsiteX3" fmla="*/ 640330 w 1280443"/>
              <a:gd name="connsiteY3" fmla="*/ 974331 h 971183"/>
              <a:gd name="connsiteX4" fmla="*/ 187509 w 1280443"/>
              <a:gd name="connsiteY4" fmla="*/ 786659 h 971183"/>
              <a:gd name="connsiteX5" fmla="*/ 22299 w 1280443"/>
              <a:gd name="connsiteY5" fmla="*/ 808253 h 971183"/>
              <a:gd name="connsiteX6" fmla="*/ 0 w 1280443"/>
              <a:gd name="connsiteY6" fmla="*/ 640276 h 971183"/>
              <a:gd name="connsiteX7" fmla="*/ 640276 w 1280443"/>
              <a:gd name="connsiteY7" fmla="*/ 0 h 971183"/>
              <a:gd name="connsiteX8" fmla="*/ 1280606 w 1280443"/>
              <a:gd name="connsiteY8" fmla="*/ 640276 h 97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0443" h="971183">
                <a:moveTo>
                  <a:pt x="1280606" y="640276"/>
                </a:moveTo>
                <a:cubicBezTo>
                  <a:pt x="1280606" y="698438"/>
                  <a:pt x="1272848" y="754756"/>
                  <a:pt x="1258253" y="808253"/>
                </a:cubicBezTo>
                <a:cubicBezTo>
                  <a:pt x="1205570" y="794146"/>
                  <a:pt x="1150229" y="786659"/>
                  <a:pt x="1093097" y="786659"/>
                </a:cubicBezTo>
                <a:cubicBezTo>
                  <a:pt x="916222" y="786659"/>
                  <a:pt x="756112" y="858385"/>
                  <a:pt x="640330" y="974331"/>
                </a:cubicBezTo>
                <a:cubicBezTo>
                  <a:pt x="524493" y="858385"/>
                  <a:pt x="364384" y="786659"/>
                  <a:pt x="187509" y="786659"/>
                </a:cubicBezTo>
                <a:cubicBezTo>
                  <a:pt x="130377" y="786659"/>
                  <a:pt x="74982" y="794146"/>
                  <a:pt x="22299" y="808253"/>
                </a:cubicBezTo>
                <a:cubicBezTo>
                  <a:pt x="7759" y="754756"/>
                  <a:pt x="0" y="698438"/>
                  <a:pt x="0" y="640276"/>
                </a:cubicBezTo>
                <a:cubicBezTo>
                  <a:pt x="0" y="286689"/>
                  <a:pt x="286689" y="0"/>
                  <a:pt x="640276" y="0"/>
                </a:cubicBezTo>
                <a:cubicBezTo>
                  <a:pt x="993917" y="0"/>
                  <a:pt x="1280606" y="286689"/>
                  <a:pt x="1280606" y="640276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Freihandform: Form 10">
            <a:extLst>
              <a:ext uri="{FF2B5EF4-FFF2-40B4-BE49-F238E27FC236}">
                <a16:creationId xmlns:a16="http://schemas.microsoft.com/office/drawing/2014/main" id="{AF5215BD-E29E-8FB5-3DD1-4F0DD414C204}"/>
              </a:ext>
            </a:extLst>
          </p:cNvPr>
          <p:cNvSpPr>
            <a:spLocks/>
          </p:cNvSpPr>
          <p:nvPr/>
        </p:nvSpPr>
        <p:spPr>
          <a:xfrm>
            <a:off x="6098762" y="3279437"/>
            <a:ext cx="2313718" cy="2676633"/>
          </a:xfrm>
          <a:custGeom>
            <a:avLst/>
            <a:gdLst>
              <a:gd name="connsiteX0" fmla="*/ 1093043 w 1090546"/>
              <a:gd name="connsiteY0" fmla="*/ 618682 h 1258740"/>
              <a:gd name="connsiteX1" fmla="*/ 452767 w 1090546"/>
              <a:gd name="connsiteY1" fmla="*/ 1259012 h 1258740"/>
              <a:gd name="connsiteX2" fmla="*/ 0 w 1090546"/>
              <a:gd name="connsiteY2" fmla="*/ 1071340 h 1258740"/>
              <a:gd name="connsiteX3" fmla="*/ 187455 w 1090546"/>
              <a:gd name="connsiteY3" fmla="*/ 618682 h 1258740"/>
              <a:gd name="connsiteX4" fmla="*/ 165155 w 1090546"/>
              <a:gd name="connsiteY4" fmla="*/ 450759 h 1258740"/>
              <a:gd name="connsiteX5" fmla="*/ 617922 w 1090546"/>
              <a:gd name="connsiteY5" fmla="*/ 0 h 1258740"/>
              <a:gd name="connsiteX6" fmla="*/ 1093043 w 1090546"/>
              <a:gd name="connsiteY6" fmla="*/ 618682 h 1258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0546" h="1258740">
                <a:moveTo>
                  <a:pt x="1093043" y="618682"/>
                </a:moveTo>
                <a:cubicBezTo>
                  <a:pt x="1093043" y="972323"/>
                  <a:pt x="806408" y="1259012"/>
                  <a:pt x="452767" y="1259012"/>
                </a:cubicBezTo>
                <a:cubicBezTo>
                  <a:pt x="275892" y="1259012"/>
                  <a:pt x="115782" y="1187286"/>
                  <a:pt x="0" y="1071340"/>
                </a:cubicBezTo>
                <a:cubicBezTo>
                  <a:pt x="115837" y="955504"/>
                  <a:pt x="187455" y="795448"/>
                  <a:pt x="187455" y="618682"/>
                </a:cubicBezTo>
                <a:cubicBezTo>
                  <a:pt x="187455" y="560574"/>
                  <a:pt x="179696" y="504256"/>
                  <a:pt x="165155" y="450759"/>
                </a:cubicBezTo>
                <a:cubicBezTo>
                  <a:pt x="385109" y="392271"/>
                  <a:pt x="558458" y="219574"/>
                  <a:pt x="617922" y="0"/>
                </a:cubicBezTo>
                <a:cubicBezTo>
                  <a:pt x="891536" y="72757"/>
                  <a:pt x="1093043" y="322227"/>
                  <a:pt x="1093043" y="618682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Freihandform: Form 13">
            <a:extLst>
              <a:ext uri="{FF2B5EF4-FFF2-40B4-BE49-F238E27FC236}">
                <a16:creationId xmlns:a16="http://schemas.microsoft.com/office/drawing/2014/main" id="{73E40583-3D3B-AD66-A054-DC51754A08BE}"/>
              </a:ext>
            </a:extLst>
          </p:cNvPr>
          <p:cNvSpPr>
            <a:spLocks/>
          </p:cNvSpPr>
          <p:nvPr/>
        </p:nvSpPr>
        <p:spPr>
          <a:xfrm>
            <a:off x="3779520" y="3279437"/>
            <a:ext cx="2313718" cy="2676633"/>
          </a:xfrm>
          <a:custGeom>
            <a:avLst/>
            <a:gdLst>
              <a:gd name="connsiteX0" fmla="*/ 1093151 w 1090546"/>
              <a:gd name="connsiteY0" fmla="*/ 1071340 h 1258740"/>
              <a:gd name="connsiteX1" fmla="*/ 640330 w 1090546"/>
              <a:gd name="connsiteY1" fmla="*/ 1259012 h 1258740"/>
              <a:gd name="connsiteX2" fmla="*/ 0 w 1090546"/>
              <a:gd name="connsiteY2" fmla="*/ 618682 h 1258740"/>
              <a:gd name="connsiteX3" fmla="*/ 475120 w 1090546"/>
              <a:gd name="connsiteY3" fmla="*/ 0 h 1258740"/>
              <a:gd name="connsiteX4" fmla="*/ 927941 w 1090546"/>
              <a:gd name="connsiteY4" fmla="*/ 450759 h 1258740"/>
              <a:gd name="connsiteX5" fmla="*/ 905642 w 1090546"/>
              <a:gd name="connsiteY5" fmla="*/ 618682 h 1258740"/>
              <a:gd name="connsiteX6" fmla="*/ 1093151 w 1090546"/>
              <a:gd name="connsiteY6" fmla="*/ 1071340 h 1258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0546" h="1258740">
                <a:moveTo>
                  <a:pt x="1093151" y="1071340"/>
                </a:moveTo>
                <a:cubicBezTo>
                  <a:pt x="977314" y="1187286"/>
                  <a:pt x="817205" y="1259012"/>
                  <a:pt x="640330" y="1259012"/>
                </a:cubicBezTo>
                <a:cubicBezTo>
                  <a:pt x="286689" y="1259012"/>
                  <a:pt x="0" y="972323"/>
                  <a:pt x="0" y="618682"/>
                </a:cubicBezTo>
                <a:cubicBezTo>
                  <a:pt x="0" y="322227"/>
                  <a:pt x="201561" y="72757"/>
                  <a:pt x="475120" y="0"/>
                </a:cubicBezTo>
                <a:cubicBezTo>
                  <a:pt x="534639" y="219574"/>
                  <a:pt x="707987" y="392271"/>
                  <a:pt x="927941" y="450759"/>
                </a:cubicBezTo>
                <a:cubicBezTo>
                  <a:pt x="913401" y="504256"/>
                  <a:pt x="905642" y="560574"/>
                  <a:pt x="905642" y="618682"/>
                </a:cubicBezTo>
                <a:cubicBezTo>
                  <a:pt x="905642" y="795448"/>
                  <a:pt x="977260" y="955504"/>
                  <a:pt x="1093151" y="107134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2" name="Gerade Verbindung 22">
            <a:extLst>
              <a:ext uri="{FF2B5EF4-FFF2-40B4-BE49-F238E27FC236}">
                <a16:creationId xmlns:a16="http://schemas.microsoft.com/office/drawing/2014/main" id="{8C957431-03F0-ED86-FEB1-5F5264080D5A}"/>
              </a:ext>
            </a:extLst>
          </p:cNvPr>
          <p:cNvCxnSpPr>
            <a:cxnSpLocks/>
          </p:cNvCxnSpPr>
          <p:nvPr/>
        </p:nvCxnSpPr>
        <p:spPr bwMode="gray">
          <a:xfrm>
            <a:off x="425450" y="4432729"/>
            <a:ext cx="322199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212C6EB3-C24A-E33B-73C2-1EE4A8A0B52E}"/>
              </a:ext>
            </a:extLst>
          </p:cNvPr>
          <p:cNvSpPr txBox="1">
            <a:spLocks/>
          </p:cNvSpPr>
          <p:nvPr/>
        </p:nvSpPr>
        <p:spPr bwMode="gray">
          <a:xfrm>
            <a:off x="424163" y="4083027"/>
            <a:ext cx="2992120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2}</a:t>
            </a:r>
          </a:p>
        </p:txBody>
      </p:sp>
      <p:sp>
        <p:nvSpPr>
          <p:cNvPr id="14" name="Rechteck 23">
            <a:extLst>
              <a:ext uri="{FF2B5EF4-FFF2-40B4-BE49-F238E27FC236}">
                <a16:creationId xmlns:a16="http://schemas.microsoft.com/office/drawing/2014/main" id="{A1C72DE8-8011-24FC-C43C-3C6888DF4BF1}"/>
              </a:ext>
            </a:extLst>
          </p:cNvPr>
          <p:cNvSpPr>
            <a:spLocks/>
          </p:cNvSpPr>
          <p:nvPr/>
        </p:nvSpPr>
        <p:spPr>
          <a:xfrm flipH="1">
            <a:off x="424163" y="4432729"/>
            <a:ext cx="2992120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2_content}</a:t>
            </a:r>
          </a:p>
        </p:txBody>
      </p:sp>
      <p:cxnSp>
        <p:nvCxnSpPr>
          <p:cNvPr id="15" name="Gerade Verbindung 22">
            <a:extLst>
              <a:ext uri="{FF2B5EF4-FFF2-40B4-BE49-F238E27FC236}">
                <a16:creationId xmlns:a16="http://schemas.microsoft.com/office/drawing/2014/main" id="{A9451B67-95C4-3902-55F3-FE030230C552}"/>
              </a:ext>
            </a:extLst>
          </p:cNvPr>
          <p:cNvCxnSpPr>
            <a:cxnSpLocks/>
          </p:cNvCxnSpPr>
          <p:nvPr/>
        </p:nvCxnSpPr>
        <p:spPr bwMode="gray">
          <a:xfrm>
            <a:off x="8589010" y="4407302"/>
            <a:ext cx="322199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CC9040DF-DB36-FBA1-2040-85981FEBDCCA}"/>
              </a:ext>
            </a:extLst>
          </p:cNvPr>
          <p:cNvSpPr txBox="1">
            <a:spLocks/>
          </p:cNvSpPr>
          <p:nvPr/>
        </p:nvSpPr>
        <p:spPr bwMode="gray">
          <a:xfrm>
            <a:off x="8818880" y="4057600"/>
            <a:ext cx="2992120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bulle</a:t>
            </a:r>
            <a:r>
              <a:rPr lang="en-US" sz="1800" cap="none" dirty="0">
                <a:solidFill>
                  <a:srgbClr val="1A7449"/>
                </a:solidFill>
                <a:latin typeface="理想品牌字体 2022"/>
              </a:rPr>
              <a:t>t_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}</a:t>
            </a:r>
          </a:p>
        </p:txBody>
      </p:sp>
      <p:sp>
        <p:nvSpPr>
          <p:cNvPr id="17" name="Rechteck 29">
            <a:extLst>
              <a:ext uri="{FF2B5EF4-FFF2-40B4-BE49-F238E27FC236}">
                <a16:creationId xmlns:a16="http://schemas.microsoft.com/office/drawing/2014/main" id="{0BC671E8-1436-B75E-AFB2-D5215121E688}"/>
              </a:ext>
            </a:extLst>
          </p:cNvPr>
          <p:cNvSpPr>
            <a:spLocks/>
          </p:cNvSpPr>
          <p:nvPr/>
        </p:nvSpPr>
        <p:spPr>
          <a:xfrm flipH="1">
            <a:off x="8818880" y="4407302"/>
            <a:ext cx="2992120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3_content}</a:t>
            </a:r>
          </a:p>
        </p:txBody>
      </p:sp>
      <p:cxnSp>
        <p:nvCxnSpPr>
          <p:cNvPr id="18" name="Gerade Verbindung 22">
            <a:extLst>
              <a:ext uri="{FF2B5EF4-FFF2-40B4-BE49-F238E27FC236}">
                <a16:creationId xmlns:a16="http://schemas.microsoft.com/office/drawing/2014/main" id="{A8629CAD-C69E-732A-B97A-8FE937C68DE5}"/>
              </a:ext>
            </a:extLst>
          </p:cNvPr>
          <p:cNvCxnSpPr>
            <a:cxnSpLocks/>
          </p:cNvCxnSpPr>
          <p:nvPr/>
        </p:nvCxnSpPr>
        <p:spPr bwMode="gray">
          <a:xfrm>
            <a:off x="7233920" y="1910444"/>
            <a:ext cx="45770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09038EB1-878F-6601-008D-3A3F724233A7}"/>
              </a:ext>
            </a:extLst>
          </p:cNvPr>
          <p:cNvSpPr txBox="1">
            <a:spLocks/>
          </p:cNvSpPr>
          <p:nvPr/>
        </p:nvSpPr>
        <p:spPr bwMode="gray">
          <a:xfrm>
            <a:off x="8818880" y="1560742"/>
            <a:ext cx="2992120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bullet_1}</a:t>
            </a:r>
          </a:p>
        </p:txBody>
      </p:sp>
      <p:sp>
        <p:nvSpPr>
          <p:cNvPr id="20" name="Rechteck 34">
            <a:extLst>
              <a:ext uri="{FF2B5EF4-FFF2-40B4-BE49-F238E27FC236}">
                <a16:creationId xmlns:a16="http://schemas.microsoft.com/office/drawing/2014/main" id="{379E7C6F-A69E-CF82-6964-404E3BDBBEEB}"/>
              </a:ext>
            </a:extLst>
          </p:cNvPr>
          <p:cNvSpPr>
            <a:spLocks/>
          </p:cNvSpPr>
          <p:nvPr/>
        </p:nvSpPr>
        <p:spPr>
          <a:xfrm flipH="1">
            <a:off x="8818880" y="1910444"/>
            <a:ext cx="2992120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A609C0B1-F167-AAF1-D6EA-F4A44168D9F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005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ven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diagram, diagrams</a:t>
            </a:r>
          </a:p>
        </p:txBody>
      </p:sp>
    </p:spTree>
    <p:extLst>
      <p:ext uri="{BB962C8B-B14F-4D97-AF65-F5344CB8AC3E}">
        <p14:creationId xmlns:p14="http://schemas.microsoft.com/office/powerpoint/2010/main" val="3602190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5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4T02:40:56Z</dcterms:created>
  <dcterms:modified xsi:type="dcterms:W3CDTF">2025-09-11T10:00:25Z</dcterms:modified>
</cp:coreProperties>
</file>